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13"/>
  </p:notesMasterIdLst>
  <p:handoutMasterIdLst>
    <p:handoutMasterId r:id="rId14"/>
  </p:handoutMasterIdLst>
  <p:sldIdLst>
    <p:sldId id="256" r:id="rId4"/>
    <p:sldId id="321" r:id="rId5"/>
    <p:sldId id="346" r:id="rId6"/>
    <p:sldId id="344" r:id="rId7"/>
    <p:sldId id="348" r:id="rId8"/>
    <p:sldId id="349" r:id="rId9"/>
    <p:sldId id="350" r:id="rId10"/>
    <p:sldId id="351" r:id="rId11"/>
    <p:sldId id="352" r:id="rId12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54" d="100"/>
          <a:sy n="54" d="100"/>
        </p:scale>
        <p:origin x="1704" y="64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nando Brandao" userId="98fd82832e5e8854" providerId="LiveId" clId="{4A275135-4C01-4FCA-B794-9C2DE9918CC3}"/>
  </pc:docChgLst>
  <pc:docChgLst>
    <pc:chgData name="Gerson Santos" userId="6c4494c9-e300-475e-8570-19c96c3d8172" providerId="ADAL" clId="{D4EC3150-327C-4688-8FC6-2CAE0B207AE9}"/>
    <pc:docChg chg="modSld">
      <pc:chgData name="Gerson Santos" userId="6c4494c9-e300-475e-8570-19c96c3d8172" providerId="ADAL" clId="{D4EC3150-327C-4688-8FC6-2CAE0B207AE9}" dt="2019-07-30T16:10:42.336" v="16" actId="20577"/>
      <pc:docMkLst>
        <pc:docMk/>
      </pc:docMkLst>
      <pc:sldChg chg="modSp">
        <pc:chgData name="Gerson Santos" userId="6c4494c9-e300-475e-8570-19c96c3d8172" providerId="ADAL" clId="{D4EC3150-327C-4688-8FC6-2CAE0B207AE9}" dt="2019-07-30T16:10:42.336" v="16" actId="20577"/>
        <pc:sldMkLst>
          <pc:docMk/>
          <pc:sldMk cId="3555918169" sldId="321"/>
        </pc:sldMkLst>
        <pc:spChg chg="mod">
          <ac:chgData name="Gerson Santos" userId="6c4494c9-e300-475e-8570-19c96c3d8172" providerId="ADAL" clId="{D4EC3150-327C-4688-8FC6-2CAE0B207AE9}" dt="2019-07-30T16:10:42.336" v="16" actId="20577"/>
          <ac:spMkLst>
            <pc:docMk/>
            <pc:sldMk cId="3555918169" sldId="321"/>
            <ac:spMk id="5" creationId="{00000000-0000-0000-0000-000000000000}"/>
          </ac:spMkLst>
        </pc:spChg>
      </pc:sldChg>
    </pc:docChg>
  </pc:docChgLst>
  <pc:docChgLst>
    <pc:chgData name="Fernando Brandao" userId="98fd82832e5e8854" providerId="LiveId" clId="{34A35D82-E50D-40C5-AE13-6F86E0B975D0}"/>
  </pc:docChgLst>
  <pc:docChgLst>
    <pc:chgData name="Fernando Brandao" userId="98fd82832e5e8854" providerId="LiveId" clId="{DB6130DC-7DFE-4F49-9E2C-C5F1B20DDDB1}"/>
  </pc:docChgLst>
  <pc:docChgLst>
    <pc:chgData name="Fernando Brandao" userId="98fd82832e5e8854" providerId="LiveId" clId="{5BC8178E-F97A-43B8-B01C-B7A69C6AA1DE}"/>
  </pc:docChgLst>
  <pc:docChgLst>
    <pc:chgData name="Fernando Brandao" userId="98fd82832e5e8854" providerId="LiveId" clId="{4778F66F-A0C7-4DEB-9192-4251172539FB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62801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7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21378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0764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760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8373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5565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4 - ILLUMY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nca Barranco 01191072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no Almeida 01191093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sio Pereira 01191033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lherme Mingardi 01191056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stavo Machado 01191058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as Abreu 01191094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Novos)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Montar um PPT com os seguintes slides. 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Foco: Planejamento/Gestão do Tempo, Execução, Metodologia de Trabalho, Riscos/Imprevistos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s itens socioemocionais serão trabalhados pelo </a:t>
            </a:r>
            <a:r>
              <a:rPr lang="pt-BR" sz="2400" dirty="0" err="1">
                <a:solidFill>
                  <a:srgbClr val="253746"/>
                </a:solidFill>
                <a:latin typeface="Exo 2" panose="00000500000000000000" pitchFamily="50" charset="0"/>
              </a:rPr>
              <a:t>Profª</a:t>
            </a: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 Vera. 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56020" y="207407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824931" y="3285696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decisão/dificuldade para encontrar uma inovação 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289845" y="2010632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r conta do tempo, o site institucional não atingiu nossas expectativas 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juda mútua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56020" y="2074070"/>
            <a:ext cx="166735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urto praz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824931" y="3285696"/>
            <a:ext cx="2149778" cy="873217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decisão/dificuldade para encontrar uma inovação 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701185" y="2059851"/>
            <a:ext cx="2170995" cy="127506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or conta do tempo, o site institucional não atingiu nossas expectativas 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801759" y="3130202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ação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534248" y="2010633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rabalho em equipe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730001" y="4396809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juda mútua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986584" y="5486600"/>
            <a:ext cx="1939348" cy="873217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prometimento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70004" y="1692399"/>
            <a:ext cx="1511111" cy="734905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lanejamen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672803" y="4003419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ior embasamento nas pesquisas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824762" y="3184363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lanejamento 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203348" y="1550975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a colaboração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440963" y="3151811"/>
            <a:ext cx="1545621" cy="829998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curar expor as dificuldades e opiniões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1483388" y="4158913"/>
            <a:ext cx="1545621" cy="917862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apoio e auxiliar uns aos outros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024231" y="6166206"/>
            <a:ext cx="2358234" cy="70303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Ter envolvimento e responsabilidade com o projeto</a:t>
            </a:r>
          </a:p>
        </p:txBody>
      </p:sp>
    </p:spTree>
    <p:extLst>
      <p:ext uri="{BB962C8B-B14F-4D97-AF65-F5344CB8AC3E}">
        <p14:creationId xmlns:p14="http://schemas.microsoft.com/office/powerpoint/2010/main" val="1296799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Planejamento/ Gestão do tempo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92088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Criação de horários comuns para chegada dos integrant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Horário mínimo de permanência no </a:t>
            </a:r>
            <a:r>
              <a:rPr lang="pt-BR" sz="2400" dirty="0" err="1">
                <a:solidFill>
                  <a:srgbClr val="253746"/>
                </a:solidFill>
                <a:latin typeface="Simplon BP Regular"/>
              </a:rPr>
              <a:t>OpenLab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Utilizamos o </a:t>
            </a:r>
            <a:r>
              <a:rPr lang="pt-BR" sz="2400" dirty="0" err="1">
                <a:solidFill>
                  <a:srgbClr val="253746"/>
                </a:solidFill>
                <a:latin typeface="Simplon BP Regular"/>
              </a:rPr>
              <a:t>Planner</a:t>
            </a:r>
            <a:endParaRPr lang="pt-BR" sz="2400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Slack/WhatsApp para comunicação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Google Drive para documentação temporária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GitHub para envio todos os arquivos do projet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Simplon BP Regular"/>
            </a:endParaRPr>
          </a:p>
        </p:txBody>
      </p:sp>
      <p:pic>
        <p:nvPicPr>
          <p:cNvPr id="2050" name="Picture 2" descr="Resultado de imagem para tempo png">
            <a:extLst>
              <a:ext uri="{FF2B5EF4-FFF2-40B4-BE49-F238E27FC236}">
                <a16:creationId xmlns:a16="http://schemas.microsoft.com/office/drawing/2014/main" id="{DF86C165-D545-467E-844B-E83EB207F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739" y="2478385"/>
            <a:ext cx="3268784" cy="2195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258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Execução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87129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No primeiro momento houve mínima rotatividade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Construir bases sólida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Início de uma rotatividade mais efetiva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Todos tiveram contato com todos os pontos do projeto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Reuniões as sextas-feiras das 16h30 até 18h30 (horário mínimo)</a:t>
            </a:r>
          </a:p>
        </p:txBody>
      </p:sp>
      <p:pic>
        <p:nvPicPr>
          <p:cNvPr id="3074" name="Picture 2" descr="Resultado de imagem para execuÃ§Ã£o png">
            <a:extLst>
              <a:ext uri="{FF2B5EF4-FFF2-40B4-BE49-F238E27FC236}">
                <a16:creationId xmlns:a16="http://schemas.microsoft.com/office/drawing/2014/main" id="{A985E3FE-A141-4668-8D4E-19A28CF4F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9787" y="2103525"/>
            <a:ext cx="2871241" cy="287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018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Metodologia de trabalho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41682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Utilizamos a metodologia ágil (Scrum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Entregas semanais para pessoa com maior domínio no 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Simplon BP Regular"/>
              </a:rPr>
              <a:t>assunto avaliar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Revisão de tarefa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Participação coletiva na tomada de decisõ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err="1">
                <a:solidFill>
                  <a:srgbClr val="253746"/>
                </a:solidFill>
                <a:latin typeface="Simplon BP Regular"/>
              </a:rPr>
              <a:t>Feebacks</a:t>
            </a: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 constantes</a:t>
            </a:r>
          </a:p>
        </p:txBody>
      </p:sp>
      <p:pic>
        <p:nvPicPr>
          <p:cNvPr id="4098" name="Picture 2" descr="Imagem relacionada">
            <a:extLst>
              <a:ext uri="{FF2B5EF4-FFF2-40B4-BE49-F238E27FC236}">
                <a16:creationId xmlns:a16="http://schemas.microsoft.com/office/drawing/2014/main" id="{9AE64546-6C9D-4F96-A74D-C3312265E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739" y="1677763"/>
            <a:ext cx="3427008" cy="342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651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5">
            <a:extLst>
              <a:ext uri="{FF2B5EF4-FFF2-40B4-BE49-F238E27FC236}">
                <a16:creationId xmlns:a16="http://schemas.microsoft.com/office/drawing/2014/main" id="{4E097E77-F80E-4867-86A1-4D220F4B9E0B}"/>
              </a:ext>
            </a:extLst>
          </p:cNvPr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ILLUMY – Riscos/Imprevist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4FA34816-DBD2-4315-8DC9-1D28D9CEFEFB}"/>
              </a:ext>
            </a:extLst>
          </p:cNvPr>
          <p:cNvSpPr/>
          <p:nvPr/>
        </p:nvSpPr>
        <p:spPr>
          <a:xfrm>
            <a:off x="816819" y="2052439"/>
            <a:ext cx="792088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2400" b="1" dirty="0">
              <a:solidFill>
                <a:srgbClr val="253746"/>
              </a:solidFill>
              <a:latin typeface="Simplon BP Regular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Determinamos um corresponsável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 err="1">
                <a:solidFill>
                  <a:srgbClr val="253746"/>
                </a:solidFill>
                <a:latin typeface="Simplon BP Regular"/>
              </a:rPr>
              <a:t>Lider</a:t>
            </a: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 técnico para áreas especifica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Punição para quem não tem justificativa plausível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Simplon BP Regular"/>
              </a:rPr>
              <a:t>Opinião em momento de escolhas não será valida</a:t>
            </a:r>
          </a:p>
        </p:txBody>
      </p:sp>
      <p:pic>
        <p:nvPicPr>
          <p:cNvPr id="5124" name="Picture 4" descr="Resultado de imagem para alert png">
            <a:extLst>
              <a:ext uri="{FF2B5EF4-FFF2-40B4-BE49-F238E27FC236}">
                <a16:creationId xmlns:a16="http://schemas.microsoft.com/office/drawing/2014/main" id="{629118B5-4BD8-4BCC-A67D-2C78BB0F3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5827" y="2196455"/>
            <a:ext cx="3247198" cy="241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3550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04</TotalTime>
  <Words>349</Words>
  <Application>Microsoft Office PowerPoint</Application>
  <PresentationFormat>Personalizar</PresentationFormat>
  <Paragraphs>87</Paragraphs>
  <Slides>9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9" baseType="lpstr">
      <vt:lpstr>Arial</vt:lpstr>
      <vt:lpstr>Calibri</vt:lpstr>
      <vt:lpstr>Exo 2</vt:lpstr>
      <vt:lpstr>MV Boli</vt:lpstr>
      <vt:lpstr>Simplon BP Medium</vt:lpstr>
      <vt:lpstr>Simplon BP Regular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Guilherme Nunes Mingardi</cp:lastModifiedBy>
  <cp:revision>194</cp:revision>
  <dcterms:created xsi:type="dcterms:W3CDTF">2016-12-01T16:19:35Z</dcterms:created>
  <dcterms:modified xsi:type="dcterms:W3CDTF">2019-09-17T16:22:59Z</dcterms:modified>
</cp:coreProperties>
</file>